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7" r:id="rId4"/>
  </p:sldMasterIdLst>
  <p:notesMasterIdLst>
    <p:notesMasterId r:id="rId6"/>
  </p:notesMasterIdLst>
  <p:handoutMasterIdLst>
    <p:handoutMasterId r:id="rId7"/>
  </p:handoutMasterIdLst>
  <p:sldIdLst>
    <p:sldId id="256" r:id="rId5"/>
  </p:sldIdLst>
  <p:sldSz cx="12188825" cy="6858000"/>
  <p:notesSz cx="7010400" cy="92710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920">
          <p15:clr>
            <a:srgbClr val="A4A3A4"/>
          </p15:clr>
        </p15:guide>
        <p15:guide id="2" pos="2208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84285"/>
    <a:srgbClr val="932135"/>
    <a:srgbClr val="7A0019"/>
    <a:srgbClr val="43061E"/>
    <a:srgbClr val="A31F34"/>
    <a:srgbClr val="BABABB"/>
    <a:srgbClr val="FFFFFF"/>
    <a:srgbClr val="8A8B8C"/>
    <a:srgbClr val="B30838"/>
    <a:srgbClr val="D2DC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597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918" y="108"/>
      </p:cViewPr>
      <p:guideLst/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howGuides="1">
      <p:cViewPr>
        <p:scale>
          <a:sx n="66" d="100"/>
          <a:sy n="66" d="100"/>
        </p:scale>
        <p:origin x="2541" y="30"/>
      </p:cViewPr>
      <p:guideLst>
        <p:guide orient="horz" pos="2920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151C11E-1A00-48AF-8C08-97C362C67874}" type="datetimeFigureOut">
              <a:rPr lang="en-US" smtClean="0"/>
              <a:pPr/>
              <a:t>9/8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05863"/>
            <a:ext cx="3038475" cy="4635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338" y="8805863"/>
            <a:ext cx="3038475" cy="4635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AFFDF9B-F3F5-4382-A25B-4EAA3B410B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889512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3550"/>
          </a:xfrm>
          <a:prstGeom prst="rect">
            <a:avLst/>
          </a:prstGeom>
        </p:spPr>
        <p:txBody>
          <a:bodyPr vert="horz" lIns="93018" tIns="46510" rIns="93018" bIns="46510" rtlCol="0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3550"/>
          </a:xfrm>
          <a:prstGeom prst="rect">
            <a:avLst/>
          </a:prstGeom>
        </p:spPr>
        <p:txBody>
          <a:bodyPr vert="horz" lIns="93018" tIns="46510" rIns="93018" bIns="46510" rtlCol="0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8C7BB64C-82E2-466C-9C50-B2DA6307AB11}" type="datetimeFigureOut">
              <a:rPr lang="en-US" smtClean="0"/>
              <a:pPr/>
              <a:t>9/8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15925" y="696913"/>
            <a:ext cx="6178550" cy="3476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018" tIns="46510" rIns="93018" bIns="4651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03725"/>
            <a:ext cx="5608320" cy="4171950"/>
          </a:xfrm>
          <a:prstGeom prst="rect">
            <a:avLst/>
          </a:prstGeom>
        </p:spPr>
        <p:txBody>
          <a:bodyPr vert="horz" lIns="93018" tIns="46510" rIns="93018" bIns="4651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05842"/>
            <a:ext cx="3037840" cy="463550"/>
          </a:xfrm>
          <a:prstGeom prst="rect">
            <a:avLst/>
          </a:prstGeom>
        </p:spPr>
        <p:txBody>
          <a:bodyPr vert="horz" lIns="93018" tIns="46510" rIns="93018" bIns="46510" rtlCol="0" anchor="b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05842"/>
            <a:ext cx="3037840" cy="463550"/>
          </a:xfrm>
          <a:prstGeom prst="rect">
            <a:avLst/>
          </a:prstGeom>
        </p:spPr>
        <p:txBody>
          <a:bodyPr vert="horz" lIns="93018" tIns="46510" rIns="93018" bIns="46510" rtlCol="0" anchor="b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A778FBA5-F957-4CE9-A734-9CFA9C4F560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38023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145414728"/>
              </p:ext>
            </p:extLst>
          </p:nvPr>
        </p:nvGraphicFramePr>
        <p:xfrm>
          <a:off x="-2" y="5860460"/>
          <a:ext cx="6094412" cy="457200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491269">
                  <a:extLst>
                    <a:ext uri="{9D8B030D-6E8A-4147-A177-3AD203B41FA5}">
                      <a16:colId xmlns:a16="http://schemas.microsoft.com/office/drawing/2014/main" val="870706628"/>
                    </a:ext>
                  </a:extLst>
                </a:gridCol>
                <a:gridCol w="449481">
                  <a:extLst>
                    <a:ext uri="{9D8B030D-6E8A-4147-A177-3AD203B41FA5}">
                      <a16:colId xmlns:a16="http://schemas.microsoft.com/office/drawing/2014/main" val="2730733757"/>
                    </a:ext>
                  </a:extLst>
                </a:gridCol>
                <a:gridCol w="289081">
                  <a:extLst>
                    <a:ext uri="{9D8B030D-6E8A-4147-A177-3AD203B41FA5}">
                      <a16:colId xmlns:a16="http://schemas.microsoft.com/office/drawing/2014/main" val="4226102928"/>
                    </a:ext>
                  </a:extLst>
                </a:gridCol>
                <a:gridCol w="426019">
                  <a:extLst>
                    <a:ext uri="{9D8B030D-6E8A-4147-A177-3AD203B41FA5}">
                      <a16:colId xmlns:a16="http://schemas.microsoft.com/office/drawing/2014/main" val="4096409204"/>
                    </a:ext>
                  </a:extLst>
                </a:gridCol>
                <a:gridCol w="289081">
                  <a:extLst>
                    <a:ext uri="{9D8B030D-6E8A-4147-A177-3AD203B41FA5}">
                      <a16:colId xmlns:a16="http://schemas.microsoft.com/office/drawing/2014/main" val="2250930221"/>
                    </a:ext>
                  </a:extLst>
                </a:gridCol>
                <a:gridCol w="426019">
                  <a:extLst>
                    <a:ext uri="{9D8B030D-6E8A-4147-A177-3AD203B41FA5}">
                      <a16:colId xmlns:a16="http://schemas.microsoft.com/office/drawing/2014/main" val="3171047029"/>
                    </a:ext>
                  </a:extLst>
                </a:gridCol>
                <a:gridCol w="289081">
                  <a:extLst>
                    <a:ext uri="{9D8B030D-6E8A-4147-A177-3AD203B41FA5}">
                      <a16:colId xmlns:a16="http://schemas.microsoft.com/office/drawing/2014/main" val="1485552749"/>
                    </a:ext>
                  </a:extLst>
                </a:gridCol>
                <a:gridCol w="426019">
                  <a:extLst>
                    <a:ext uri="{9D8B030D-6E8A-4147-A177-3AD203B41FA5}">
                      <a16:colId xmlns:a16="http://schemas.microsoft.com/office/drawing/2014/main" val="1495385862"/>
                    </a:ext>
                  </a:extLst>
                </a:gridCol>
                <a:gridCol w="289081">
                  <a:extLst>
                    <a:ext uri="{9D8B030D-6E8A-4147-A177-3AD203B41FA5}">
                      <a16:colId xmlns:a16="http://schemas.microsoft.com/office/drawing/2014/main" val="2547297612"/>
                    </a:ext>
                  </a:extLst>
                </a:gridCol>
                <a:gridCol w="426019">
                  <a:extLst>
                    <a:ext uri="{9D8B030D-6E8A-4147-A177-3AD203B41FA5}">
                      <a16:colId xmlns:a16="http://schemas.microsoft.com/office/drawing/2014/main" val="4144716389"/>
                    </a:ext>
                  </a:extLst>
                </a:gridCol>
                <a:gridCol w="289081">
                  <a:extLst>
                    <a:ext uri="{9D8B030D-6E8A-4147-A177-3AD203B41FA5}">
                      <a16:colId xmlns:a16="http://schemas.microsoft.com/office/drawing/2014/main" val="3008834144"/>
                    </a:ext>
                  </a:extLst>
                </a:gridCol>
                <a:gridCol w="426019">
                  <a:extLst>
                    <a:ext uri="{9D8B030D-6E8A-4147-A177-3AD203B41FA5}">
                      <a16:colId xmlns:a16="http://schemas.microsoft.com/office/drawing/2014/main" val="3939940665"/>
                    </a:ext>
                  </a:extLst>
                </a:gridCol>
                <a:gridCol w="289081">
                  <a:extLst>
                    <a:ext uri="{9D8B030D-6E8A-4147-A177-3AD203B41FA5}">
                      <a16:colId xmlns:a16="http://schemas.microsoft.com/office/drawing/2014/main" val="1822410485"/>
                    </a:ext>
                  </a:extLst>
                </a:gridCol>
                <a:gridCol w="289081">
                  <a:extLst>
                    <a:ext uri="{9D8B030D-6E8A-4147-A177-3AD203B41FA5}">
                      <a16:colId xmlns:a16="http://schemas.microsoft.com/office/drawing/2014/main" val="171284064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900" b="0" i="1" dirty="0">
                          <a:solidFill>
                            <a:srgbClr val="7A0019"/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Technical Area (TA):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b="1" dirty="0">
                          <a:solidFill>
                            <a:srgbClr val="7A0019"/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TA1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1" dirty="0">
                        <a:solidFill>
                          <a:srgbClr val="7A0019"/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b="1" dirty="0">
                          <a:solidFill>
                            <a:srgbClr val="7A0019"/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TA2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1" dirty="0">
                        <a:solidFill>
                          <a:srgbClr val="7A0019"/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b="1" dirty="0">
                          <a:solidFill>
                            <a:srgbClr val="7A0019"/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TA3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1" dirty="0">
                        <a:solidFill>
                          <a:srgbClr val="7A0019"/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b="1" dirty="0">
                          <a:solidFill>
                            <a:srgbClr val="7A0019"/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TA4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1" dirty="0">
                        <a:solidFill>
                          <a:srgbClr val="7A0019"/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b="1" dirty="0">
                          <a:solidFill>
                            <a:srgbClr val="7A0019"/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TA5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1" dirty="0">
                        <a:solidFill>
                          <a:srgbClr val="7A0019"/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ABA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b="1" dirty="0">
                          <a:solidFill>
                            <a:srgbClr val="7A0019"/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TA6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1" dirty="0">
                        <a:solidFill>
                          <a:srgbClr val="7A0019"/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1" dirty="0">
                        <a:solidFill>
                          <a:srgbClr val="7A0019"/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2236314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900" b="0" i="1" dirty="0">
                          <a:solidFill>
                            <a:srgbClr val="7A0019"/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Cross-Functional</a:t>
                      </a:r>
                      <a:r>
                        <a:rPr lang="en-US" sz="900" b="0" i="1" baseline="0" dirty="0">
                          <a:solidFill>
                            <a:srgbClr val="7A0019"/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 Teams :</a:t>
                      </a:r>
                      <a:endParaRPr lang="en-US" sz="900" b="0" i="1" dirty="0">
                        <a:solidFill>
                          <a:srgbClr val="7A0019"/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45720" marR="4572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b="1" dirty="0">
                          <a:solidFill>
                            <a:srgbClr val="7A0019"/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CFT1</a:t>
                      </a:r>
                    </a:p>
                  </a:txBody>
                  <a:tcPr marL="45720" marR="4572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1" dirty="0">
                        <a:solidFill>
                          <a:srgbClr val="7A0019"/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b="1" dirty="0">
                          <a:solidFill>
                            <a:srgbClr val="7A0019"/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CFT2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1" dirty="0">
                        <a:solidFill>
                          <a:srgbClr val="7A0019"/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b="1" dirty="0">
                          <a:solidFill>
                            <a:srgbClr val="7A0019"/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CFT</a:t>
                      </a:r>
                      <a:r>
                        <a:rPr lang="en-US" sz="900" b="1" baseline="0" dirty="0">
                          <a:solidFill>
                            <a:srgbClr val="7A0019"/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3</a:t>
                      </a:r>
                      <a:endParaRPr lang="en-US" sz="900" b="1" dirty="0">
                        <a:solidFill>
                          <a:srgbClr val="7A0019"/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1" dirty="0">
                        <a:solidFill>
                          <a:srgbClr val="7A0019"/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b="1" dirty="0">
                          <a:solidFill>
                            <a:srgbClr val="7A0019"/>
                          </a:solidFill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CFT4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1" dirty="0">
                        <a:solidFill>
                          <a:srgbClr val="7A0019"/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ABA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900" b="1" dirty="0">
                        <a:solidFill>
                          <a:srgbClr val="7A0019"/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rgbClr val="BABA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900" b="1" dirty="0">
                        <a:solidFill>
                          <a:srgbClr val="7A0019"/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ABAB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900" b="1" dirty="0">
                        <a:solidFill>
                          <a:srgbClr val="7A0019"/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900" b="1" dirty="0">
                        <a:solidFill>
                          <a:srgbClr val="7A0019"/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900" b="1" dirty="0">
                        <a:solidFill>
                          <a:srgbClr val="7A0019"/>
                        </a:solidFill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73522725"/>
                  </a:ext>
                </a:extLst>
              </a:tr>
            </a:tbl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6192537" y="5900132"/>
            <a:ext cx="5996283" cy="37189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>
              <a:spcAft>
                <a:spcPts val="200"/>
              </a:spcAft>
            </a:pPr>
            <a:r>
              <a:rPr lang="en-US" sz="750" b="1" dirty="0">
                <a:solidFill>
                  <a:srgbClr val="7A0019"/>
                </a:solidFill>
                <a:latin typeface="Helvetica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TA1: </a:t>
            </a:r>
            <a:r>
              <a:rPr lang="en-US" sz="750" dirty="0">
                <a:solidFill>
                  <a:srgbClr val="7A0019"/>
                </a:solidFill>
                <a:latin typeface="Helvetica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Materials, Structures, &amp; Thermal Protection Systems • </a:t>
            </a:r>
            <a:r>
              <a:rPr lang="en-US" sz="750" b="1" dirty="0">
                <a:solidFill>
                  <a:srgbClr val="7A0019"/>
                </a:solidFill>
                <a:latin typeface="Helvetica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TA2:</a:t>
            </a:r>
            <a:r>
              <a:rPr lang="en-US" sz="750" dirty="0">
                <a:solidFill>
                  <a:srgbClr val="7A0019"/>
                </a:solidFill>
                <a:latin typeface="Helvetica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 Guidance, Navigation, &amp; Control (GNC) •</a:t>
            </a:r>
            <a:r>
              <a:rPr lang="en-US" sz="750" b="1" dirty="0">
                <a:solidFill>
                  <a:srgbClr val="7A0019"/>
                </a:solidFill>
                <a:latin typeface="Helvetica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 TA3: </a:t>
            </a:r>
            <a:r>
              <a:rPr lang="en-US" sz="750" b="0" dirty="0">
                <a:solidFill>
                  <a:srgbClr val="7A0019"/>
                </a:solidFill>
                <a:latin typeface="Helvetica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Air-Breathing </a:t>
            </a:r>
            <a:r>
              <a:rPr lang="en-US" sz="750" dirty="0">
                <a:solidFill>
                  <a:srgbClr val="7A0019"/>
                </a:solidFill>
                <a:latin typeface="Helvetica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Propulsion •</a:t>
            </a:r>
            <a:r>
              <a:rPr lang="en-US" sz="750" b="1" dirty="0">
                <a:solidFill>
                  <a:srgbClr val="7A0019"/>
                </a:solidFill>
                <a:latin typeface="Helvetica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 TA4: </a:t>
            </a:r>
            <a:r>
              <a:rPr lang="en-US" sz="750" dirty="0">
                <a:solidFill>
                  <a:srgbClr val="7A0019"/>
                </a:solidFill>
                <a:latin typeface="Helvetica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Hypersonic Environments &amp; Phenomenology • </a:t>
            </a:r>
            <a:r>
              <a:rPr lang="en-US" sz="750" b="1" dirty="0">
                <a:solidFill>
                  <a:srgbClr val="7A0019"/>
                </a:solidFill>
                <a:latin typeface="Helvetica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TA5:</a:t>
            </a:r>
            <a:r>
              <a:rPr lang="en-US" sz="750" dirty="0">
                <a:solidFill>
                  <a:srgbClr val="7A0019"/>
                </a:solidFill>
                <a:latin typeface="Helvetica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 Applied Aerodynamics/Hypersonic Systems •  </a:t>
            </a:r>
            <a:r>
              <a:rPr lang="en-US" sz="750" b="1" dirty="0">
                <a:solidFill>
                  <a:srgbClr val="7A0019"/>
                </a:solidFill>
                <a:latin typeface="Helvetica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TA6 </a:t>
            </a:r>
            <a:r>
              <a:rPr lang="en-US" sz="750" b="0" dirty="0">
                <a:solidFill>
                  <a:srgbClr val="7A0019"/>
                </a:solidFill>
                <a:latin typeface="Helvetica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Lethality &amp; Energetics</a:t>
            </a:r>
          </a:p>
          <a:p>
            <a:pPr>
              <a:spcAft>
                <a:spcPts val="200"/>
              </a:spcAft>
            </a:pPr>
            <a:r>
              <a:rPr lang="en-US" sz="750" b="1" dirty="0">
                <a:solidFill>
                  <a:srgbClr val="7A0019"/>
                </a:solidFill>
                <a:latin typeface="Helvetica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CFT1: </a:t>
            </a:r>
            <a:r>
              <a:rPr lang="en-US" sz="750" b="0" dirty="0">
                <a:solidFill>
                  <a:srgbClr val="7A0019"/>
                </a:solidFill>
                <a:latin typeface="Helvetica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Basic Sciences</a:t>
            </a:r>
            <a:r>
              <a:rPr lang="en-US" sz="750" dirty="0">
                <a:solidFill>
                  <a:srgbClr val="7A0019"/>
                </a:solidFill>
                <a:latin typeface="Helvetica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• </a:t>
            </a:r>
            <a:r>
              <a:rPr lang="en-US" sz="750" b="1" dirty="0">
                <a:solidFill>
                  <a:srgbClr val="7A0019"/>
                </a:solidFill>
                <a:latin typeface="Helvetica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CFT2: </a:t>
            </a:r>
            <a:r>
              <a:rPr lang="en-US" sz="750" b="0" dirty="0">
                <a:solidFill>
                  <a:srgbClr val="7A0019"/>
                </a:solidFill>
                <a:latin typeface="Helvetica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Advanced Projects &amp; Prototypes </a:t>
            </a:r>
            <a:r>
              <a:rPr lang="en-US" sz="750" dirty="0">
                <a:solidFill>
                  <a:srgbClr val="7A0019"/>
                </a:solidFill>
                <a:latin typeface="Helvetica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• </a:t>
            </a:r>
            <a:r>
              <a:rPr lang="en-US" sz="750" b="1" dirty="0">
                <a:solidFill>
                  <a:srgbClr val="7A0019"/>
                </a:solidFill>
                <a:latin typeface="Helvetica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CFT3: </a:t>
            </a:r>
            <a:r>
              <a:rPr lang="en-US" sz="750" b="0" dirty="0">
                <a:solidFill>
                  <a:srgbClr val="7A0019"/>
                </a:solidFill>
                <a:latin typeface="Helvetica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Systems Engineering, Test &amp; Evaluation </a:t>
            </a:r>
            <a:r>
              <a:rPr lang="en-US" sz="750" dirty="0">
                <a:solidFill>
                  <a:srgbClr val="7A0019"/>
                </a:solidFill>
                <a:latin typeface="Helvetica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• </a:t>
            </a:r>
            <a:r>
              <a:rPr lang="en-US" sz="750" b="1" dirty="0">
                <a:solidFill>
                  <a:srgbClr val="7A0019"/>
                </a:solidFill>
                <a:latin typeface="Helvetica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CFT4: </a:t>
            </a:r>
            <a:r>
              <a:rPr lang="en-US" sz="750" dirty="0">
                <a:solidFill>
                  <a:srgbClr val="7A0019"/>
                </a:solidFill>
                <a:latin typeface="Helvetica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Manufacturability •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98425" y="3357419"/>
            <a:ext cx="21881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1400" b="1" dirty="0">
                <a:solidFill>
                  <a:srgbClr val="932135"/>
                </a:solidFill>
                <a:latin typeface="Helvetica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Resources &amp; Capabilities</a:t>
            </a:r>
            <a:endParaRPr lang="en-US" sz="1400" dirty="0">
              <a:solidFill>
                <a:srgbClr val="932135"/>
              </a:solidFill>
              <a:latin typeface="Helvetica" pitchFamily="2" charset="0"/>
              <a:ea typeface="Helvetica Neue" panose="02000503000000020004" pitchFamily="2" charset="0"/>
              <a:cs typeface="Helvetica Neue" panose="02000503000000020004" pitchFamily="2" charset="0"/>
            </a:endParaRPr>
          </a:p>
        </p:txBody>
      </p:sp>
      <p:sp>
        <p:nvSpPr>
          <p:cNvPr id="16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75565" y="3590658"/>
            <a:ext cx="5943600" cy="2194560"/>
          </a:xfrm>
          <a:prstGeom prst="rect">
            <a:avLst/>
          </a:prstGeom>
        </p:spPr>
        <p:txBody>
          <a:bodyPr lIns="91440" tIns="91440" rIns="91440" bIns="91440" anchor="t" anchorCtr="0">
            <a:normAutofit/>
          </a:bodyPr>
          <a:lstStyle>
            <a:lvl1pPr marL="171450" marR="0" indent="-17145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b="0" baseline="0">
                <a:latin typeface="Helvetica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marL="171450" marR="0" lvl="0" indent="-17145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List any specific capabilities or resources you propose to allocate to your efforts on the research of interest to you. These capabilities may include but are not limited to: experimental facilities; computational and data sciences (e.g., hardware, codes, algorithms, AI); ground test equipment; wind tunnels and diagnostics; and flight test resources.</a:t>
            </a:r>
          </a:p>
          <a:p>
            <a:pPr lvl="0"/>
            <a:endParaRPr lang="en-US" dirty="0"/>
          </a:p>
        </p:txBody>
      </p:sp>
      <p:sp>
        <p:nvSpPr>
          <p:cNvPr id="32" name="Picture Placeholder 31"/>
          <p:cNvSpPr>
            <a:spLocks noGrp="1"/>
          </p:cNvSpPr>
          <p:nvPr>
            <p:ph type="pic" sz="quarter" idx="14" hasCustomPrompt="1"/>
          </p:nvPr>
        </p:nvSpPr>
        <p:spPr>
          <a:xfrm>
            <a:off x="6169677" y="1029857"/>
            <a:ext cx="5943600" cy="2194560"/>
          </a:xfrm>
          <a:prstGeom prst="rect">
            <a:avLst/>
          </a:prstGeom>
        </p:spPr>
        <p:txBody>
          <a:bodyPr lIns="91440" tIns="91440" rIns="91440" bIns="91440" anchor="t" anchorCtr="0">
            <a:normAutofit/>
          </a:bodyPr>
          <a:lstStyle>
            <a:lvl1pPr marL="0" indent="0" algn="l">
              <a:buNone/>
              <a:defRPr sz="1200" b="0" baseline="0">
                <a:latin typeface="Helvetica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US" dirty="0"/>
              <a:t>Add graphics that are representative of your research or capabilities.</a:t>
            </a:r>
          </a:p>
        </p:txBody>
      </p:sp>
      <p:sp>
        <p:nvSpPr>
          <p:cNvPr id="34" name="Text Placeholder 33"/>
          <p:cNvSpPr>
            <a:spLocks noGrp="1"/>
          </p:cNvSpPr>
          <p:nvPr>
            <p:ph type="body" sz="quarter" idx="15" hasCustomPrompt="1"/>
          </p:nvPr>
        </p:nvSpPr>
        <p:spPr>
          <a:xfrm>
            <a:off x="6169677" y="3590200"/>
            <a:ext cx="5943600" cy="2194560"/>
          </a:xfrm>
          <a:prstGeom prst="rect">
            <a:avLst/>
          </a:prstGeom>
        </p:spPr>
        <p:txBody>
          <a:bodyPr lIns="91440" tIns="91440" rIns="91440" bIns="91440" anchor="t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baseline="0">
                <a:latin typeface="Helvetica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 marL="230187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/>
            </a:lvl2pPr>
            <a:lvl3pPr marL="630237" indent="0">
              <a:buNone/>
              <a:defRPr/>
            </a:lvl3pPr>
          </a:lstStyle>
          <a:p>
            <a:pPr lvl="0"/>
            <a:br>
              <a:rPr lang="en-US" dirty="0"/>
            </a:br>
            <a:endParaRPr lang="en-US" dirty="0"/>
          </a:p>
        </p:txBody>
      </p:sp>
      <p:sp>
        <p:nvSpPr>
          <p:cNvPr id="37" name="TextBox 36"/>
          <p:cNvSpPr txBox="1"/>
          <p:nvPr userDrawn="1"/>
        </p:nvSpPr>
        <p:spPr>
          <a:xfrm>
            <a:off x="98425" y="797668"/>
            <a:ext cx="1601400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1400" b="1" dirty="0">
                <a:solidFill>
                  <a:srgbClr val="932135"/>
                </a:solidFill>
                <a:latin typeface="Helvetica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Research Interests</a:t>
            </a:r>
            <a:endParaRPr lang="en-US" sz="1400" dirty="0">
              <a:solidFill>
                <a:srgbClr val="932135"/>
              </a:solidFill>
              <a:latin typeface="Helvetica" pitchFamily="2" charset="0"/>
              <a:ea typeface="Helvetica Neue" panose="02000503000000020004" pitchFamily="2" charset="0"/>
              <a:cs typeface="Helvetica Neue" panose="02000503000000020004" pitchFamily="2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8822AD0-21CF-7443-A984-30228167F90B}"/>
              </a:ext>
            </a:extLst>
          </p:cNvPr>
          <p:cNvSpPr/>
          <p:nvPr userDrawn="1"/>
        </p:nvSpPr>
        <p:spPr>
          <a:xfrm>
            <a:off x="1" y="50677"/>
            <a:ext cx="7157544" cy="646331"/>
          </a:xfrm>
          <a:prstGeom prst="rect">
            <a:avLst/>
          </a:prstGeom>
        </p:spPr>
        <p:txBody>
          <a:bodyPr wrap="square" lIns="91440" rIns="91440" anchor="ctr" anchorCtr="0">
            <a:spAutoFit/>
          </a:bodyPr>
          <a:lstStyle/>
          <a:p>
            <a:pPr algn="l"/>
            <a:r>
              <a:rPr lang="en-US" sz="1800" b="1" dirty="0">
                <a:solidFill>
                  <a:srgbClr val="184285"/>
                </a:solidFill>
                <a:latin typeface="Helvetica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University Consortium for Applied Hypersonics</a:t>
            </a:r>
          </a:p>
          <a:p>
            <a:pPr algn="l"/>
            <a:r>
              <a:rPr lang="en-US" sz="1800" b="1" dirty="0">
                <a:solidFill>
                  <a:srgbClr val="43061E"/>
                </a:solidFill>
                <a:latin typeface="Helvetica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Participant Statement of Capabilities and Expertise</a:t>
            </a:r>
          </a:p>
        </p:txBody>
      </p:sp>
      <p:cxnSp>
        <p:nvCxnSpPr>
          <p:cNvPr id="23" name="Straight Connector 12">
            <a:extLst>
              <a:ext uri="{FF2B5EF4-FFF2-40B4-BE49-F238E27FC236}">
                <a16:creationId xmlns:a16="http://schemas.microsoft.com/office/drawing/2014/main" id="{11CE45FA-D098-8544-A273-4EEE00E1AD95}"/>
              </a:ext>
            </a:extLst>
          </p:cNvPr>
          <p:cNvCxnSpPr>
            <a:cxnSpLocks noChangeShapeType="1"/>
          </p:cNvCxnSpPr>
          <p:nvPr userDrawn="1"/>
        </p:nvCxnSpPr>
        <p:spPr bwMode="auto">
          <a:xfrm>
            <a:off x="0" y="3321906"/>
            <a:ext cx="12188825" cy="0"/>
          </a:xfrm>
          <a:prstGeom prst="line">
            <a:avLst/>
          </a:prstGeom>
          <a:noFill/>
          <a:ln w="25400" algn="ctr">
            <a:solidFill>
              <a:schemeClr val="accent4"/>
            </a:solidFill>
            <a:round/>
            <a:headEnd type="none" w="sm" len="sm"/>
            <a:tailEnd type="none" w="sm" len="sm"/>
          </a:ln>
        </p:spPr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EE3C558D-7EFB-0842-9ADF-E4B6E0CE91E9}"/>
              </a:ext>
            </a:extLst>
          </p:cNvPr>
          <p:cNvCxnSpPr>
            <a:cxnSpLocks/>
          </p:cNvCxnSpPr>
          <p:nvPr userDrawn="1"/>
        </p:nvCxnSpPr>
        <p:spPr>
          <a:xfrm>
            <a:off x="6094412" y="758269"/>
            <a:ext cx="0" cy="5073303"/>
          </a:xfrm>
          <a:prstGeom prst="line">
            <a:avLst/>
          </a:prstGeom>
          <a:ln w="254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4C34B230-B87D-0648-A8A1-ADE3388A4AB0}"/>
              </a:ext>
            </a:extLst>
          </p:cNvPr>
          <p:cNvSpPr txBox="1"/>
          <p:nvPr userDrawn="1"/>
        </p:nvSpPr>
        <p:spPr>
          <a:xfrm>
            <a:off x="6192537" y="797668"/>
            <a:ext cx="64139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1400" b="1" dirty="0">
                <a:solidFill>
                  <a:srgbClr val="932135"/>
                </a:solidFill>
                <a:latin typeface="Helvetica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Visuals</a:t>
            </a:r>
            <a:endParaRPr lang="en-US" sz="1400" dirty="0">
              <a:solidFill>
                <a:srgbClr val="932135"/>
              </a:solidFill>
              <a:latin typeface="Helvetica" pitchFamily="2" charset="0"/>
              <a:ea typeface="Helvetica Neue" panose="02000503000000020004" pitchFamily="2" charset="0"/>
              <a:cs typeface="Helvetica Neue" panose="02000503000000020004" pitchFamily="2" charset="0"/>
            </a:endParaRPr>
          </a:p>
        </p:txBody>
      </p:sp>
      <p:cxnSp>
        <p:nvCxnSpPr>
          <p:cNvPr id="39" name="Straight Connector 12">
            <a:extLst>
              <a:ext uri="{FF2B5EF4-FFF2-40B4-BE49-F238E27FC236}">
                <a16:creationId xmlns:a16="http://schemas.microsoft.com/office/drawing/2014/main" id="{AF646BF4-5268-1B40-8C7B-9202454129D1}"/>
              </a:ext>
            </a:extLst>
          </p:cNvPr>
          <p:cNvCxnSpPr>
            <a:cxnSpLocks noChangeShapeType="1"/>
          </p:cNvCxnSpPr>
          <p:nvPr userDrawn="1"/>
        </p:nvCxnSpPr>
        <p:spPr bwMode="auto">
          <a:xfrm>
            <a:off x="-1" y="5831572"/>
            <a:ext cx="12188825" cy="0"/>
          </a:xfrm>
          <a:prstGeom prst="line">
            <a:avLst/>
          </a:prstGeom>
          <a:noFill/>
          <a:ln w="25400" algn="ctr">
            <a:solidFill>
              <a:schemeClr val="accent4"/>
            </a:solidFill>
            <a:round/>
            <a:headEnd type="none" w="sm" len="sm"/>
            <a:tailEnd type="none" w="sm" len="sm"/>
          </a:ln>
        </p:spPr>
      </p:cxnSp>
      <p:sp>
        <p:nvSpPr>
          <p:cNvPr id="47" name="Text Placeholder 11">
            <a:extLst>
              <a:ext uri="{FF2B5EF4-FFF2-40B4-BE49-F238E27FC236}">
                <a16:creationId xmlns:a16="http://schemas.microsoft.com/office/drawing/2014/main" id="{CEAE5AC4-5EE5-AD49-B90A-9632F9A78E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998400" y="50677"/>
            <a:ext cx="4114800" cy="314390"/>
          </a:xfrm>
          <a:prstGeom prst="rect">
            <a:avLst/>
          </a:prstGeom>
        </p:spPr>
        <p:txBody>
          <a:bodyPr lIns="91440" tIns="91440" rIns="91440" bIns="91440" anchor="ctr" anchorCtr="0"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600" b="1" baseline="0">
                <a:latin typeface="Helvetica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en-US" dirty="0"/>
              <a:t>Name  </a:t>
            </a:r>
          </a:p>
        </p:txBody>
      </p:sp>
      <p:sp>
        <p:nvSpPr>
          <p:cNvPr id="48" name="Text Placeholder 11">
            <a:extLst>
              <a:ext uri="{FF2B5EF4-FFF2-40B4-BE49-F238E27FC236}">
                <a16:creationId xmlns:a16="http://schemas.microsoft.com/office/drawing/2014/main" id="{009360B5-5954-B444-A842-FC518151A3D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998400" y="413208"/>
            <a:ext cx="4114800" cy="297914"/>
          </a:xfrm>
          <a:prstGeom prst="rect">
            <a:avLst/>
          </a:prstGeom>
        </p:spPr>
        <p:txBody>
          <a:bodyPr lIns="91440" tIns="91440" rIns="91440" bIns="91440" anchor="ctr" anchorCtr="0"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400" b="0" baseline="0">
                <a:latin typeface="Helvetica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pPr lvl="0"/>
            <a:r>
              <a:rPr lang="en-US" dirty="0"/>
              <a:t>Affiliation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081C4C48-9512-2C40-A32B-1A08555B99F6}"/>
              </a:ext>
            </a:extLst>
          </p:cNvPr>
          <p:cNvSpPr txBox="1"/>
          <p:nvPr userDrawn="1"/>
        </p:nvSpPr>
        <p:spPr>
          <a:xfrm>
            <a:off x="2122775" y="6404219"/>
            <a:ext cx="284084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>
                <a:solidFill>
                  <a:srgbClr val="932135"/>
                </a:solidFill>
                <a:latin typeface="Helvetica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Please put a red rectangle to identify</a:t>
            </a:r>
          </a:p>
          <a:p>
            <a:r>
              <a:rPr lang="en-US" sz="800" dirty="0">
                <a:solidFill>
                  <a:srgbClr val="932135"/>
                </a:solidFill>
                <a:latin typeface="Helvetica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TA(s) and/or CFT(s) to which you would like to contribute.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744EE81-C2C0-9144-BF33-6B56525460B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5565" y="1030288"/>
            <a:ext cx="5943600" cy="2194560"/>
          </a:xfrm>
          <a:prstGeom prst="rect">
            <a:avLst/>
          </a:prstGeom>
        </p:spPr>
        <p:txBody>
          <a:bodyPr lIns="91440" tIns="91440" rIns="91440" bIns="91440" anchor="t" anchorCtr="0">
            <a:normAutofit/>
          </a:bodyPr>
          <a:lstStyle>
            <a:lvl1pPr marL="0" marR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 sz="1200" b="0">
                <a:latin typeface="Helvetica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  <a:lvl2pPr marL="284163" indent="0">
              <a:buFontTx/>
              <a:buNone/>
              <a:defRPr/>
            </a:lvl2pPr>
            <a:lvl3pPr marL="630237" indent="0">
              <a:buFontTx/>
              <a:buNone/>
              <a:defRPr/>
            </a:lvl3pPr>
            <a:lvl4pPr marL="854075" indent="0"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lease make sure your font size is no smaller than 10 point.  </a:t>
            </a: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6CC2FFD-A9B6-AB44-9417-34C96E39F2A7}"/>
              </a:ext>
            </a:extLst>
          </p:cNvPr>
          <p:cNvSpPr txBox="1"/>
          <p:nvPr userDrawn="1"/>
        </p:nvSpPr>
        <p:spPr>
          <a:xfrm>
            <a:off x="6192836" y="3357419"/>
            <a:ext cx="414495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1400" b="1" dirty="0">
                <a:solidFill>
                  <a:srgbClr val="932135"/>
                </a:solidFill>
                <a:latin typeface="Helvetica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Relevant Publications &amp; Research Links</a:t>
            </a:r>
            <a:endParaRPr lang="en-US" sz="1400" dirty="0">
              <a:solidFill>
                <a:srgbClr val="932135"/>
              </a:solidFill>
              <a:latin typeface="Helvetica" pitchFamily="2" charset="0"/>
              <a:ea typeface="Helvetica Neue" panose="02000503000000020004" pitchFamily="2" charset="0"/>
              <a:cs typeface="Helvetica Neue" panose="0200050300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57017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D8863DA-30DB-EB4D-ACC7-0EDC557ACA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1946801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D8863DA-30DB-EB4D-ACC7-0EDC557ACA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90C32A0-6A5F-C54F-98DE-6464FFA36328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2DCF2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n-US" sz="2000" b="1" i="0" u="none" cap="none" baseline="0" dirty="0">
              <a:solidFill>
                <a:schemeClr val="tx1"/>
              </a:solidFill>
              <a:latin typeface="Helvetica Neue" panose="02000503000000020004" pitchFamily="2" charset="0"/>
              <a:ea typeface="Helvetica Neue" panose="02000503000000020004" pitchFamily="2" charset="0"/>
              <a:sym typeface="Helvetica Neue" panose="02000503000000020004" pitchFamily="2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566137" y="31900"/>
            <a:ext cx="10422566" cy="66839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0" name="Rectangle 1032"/>
          <p:cNvSpPr>
            <a:spLocks noChangeArrowheads="1"/>
          </p:cNvSpPr>
          <p:nvPr/>
        </p:nvSpPr>
        <p:spPr bwMode="auto">
          <a:xfrm>
            <a:off x="115667" y="6519671"/>
            <a:ext cx="1450470" cy="2194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45720" tIns="0" rIns="0" bIns="0" anchor="ctr"/>
          <a:lstStyle/>
          <a:p>
            <a:pPr>
              <a:defRPr/>
            </a:pPr>
            <a:r>
              <a:rPr lang="en-US" sz="800" baseline="0" dirty="0">
                <a:solidFill>
                  <a:srgbClr val="000000"/>
                </a:solidFill>
                <a:cs typeface="Arial" pitchFamily="34" charset="0"/>
              </a:rPr>
              <a:t>PI Quad Chart</a:t>
            </a:r>
            <a:r>
              <a:rPr lang="en-US" sz="800" dirty="0">
                <a:solidFill>
                  <a:srgbClr val="000000"/>
                </a:solidFill>
                <a:cs typeface="Arial" pitchFamily="34" charset="0"/>
              </a:rPr>
              <a:t> - </a:t>
            </a:r>
            <a:fld id="{6A829F23-F466-44AA-A5B9-24580D3A690E}" type="slidenum">
              <a:rPr lang="en-US" sz="800" smtClean="0">
                <a:solidFill>
                  <a:srgbClr val="000000"/>
                </a:solidFill>
                <a:cs typeface="Arial" pitchFamily="34" charset="0"/>
              </a:rPr>
              <a:pPr>
                <a:defRPr/>
              </a:pPr>
              <a:t>‹#›</a:t>
            </a:fld>
            <a:endParaRPr lang="en-US" sz="8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A6B626E-FBD8-574E-BDB7-9BF2CFCF3A9C}"/>
              </a:ext>
            </a:extLst>
          </p:cNvPr>
          <p:cNvSpPr/>
          <p:nvPr userDrawn="1"/>
        </p:nvSpPr>
        <p:spPr>
          <a:xfrm>
            <a:off x="0" y="762414"/>
            <a:ext cx="12188825" cy="5577840"/>
          </a:xfrm>
          <a:prstGeom prst="rect">
            <a:avLst/>
          </a:prstGeom>
          <a:noFill/>
          <a:ln w="254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 dirty="0">
              <a:solidFill>
                <a:schemeClr val="tx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</p:sldLayoutIdLst>
  <p:txStyles>
    <p:titleStyle>
      <a:lvl1pPr algn="ctr" eaLnBrk="1" hangingPunct="1">
        <a:lnSpc>
          <a:spcPts val="2800"/>
        </a:lnSpc>
        <a:defRPr sz="2000" b="1">
          <a:solidFill>
            <a:schemeClr val="tx2"/>
          </a:solidFill>
          <a:latin typeface="Helvetica Neue" panose="02000503000000020004" pitchFamily="2" charset="0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233363" indent="-233363" algn="l" eaLnBrk="1" hangingPunct="1">
        <a:lnSpc>
          <a:spcPts val="2000"/>
        </a:lnSpc>
        <a:spcBef>
          <a:spcPts val="300"/>
        </a:spcBef>
        <a:spcAft>
          <a:spcPts val="600"/>
        </a:spcAft>
        <a:buFont typeface="Arial" pitchFamily="34" charset="0"/>
        <a:buChar char="•"/>
        <a:defRPr sz="2000" b="1">
          <a:latin typeface="Arial" pitchFamily="34" charset="0"/>
          <a:cs typeface="Arial" pitchFamily="34" charset="0"/>
        </a:defRPr>
      </a:lvl1pPr>
      <a:lvl2pPr marL="509588" indent="-225425" algn="l" eaLnBrk="1" hangingPunct="1">
        <a:lnSpc>
          <a:spcPts val="2000"/>
        </a:lnSpc>
        <a:spcBef>
          <a:spcPts val="300"/>
        </a:spcBef>
        <a:spcAft>
          <a:spcPts val="600"/>
        </a:spcAft>
        <a:buFont typeface="Arial" pitchFamily="34" charset="0"/>
        <a:buChar char="–"/>
        <a:defRPr sz="2000" b="1">
          <a:latin typeface="Arial" pitchFamily="34" charset="0"/>
          <a:cs typeface="Arial" pitchFamily="34" charset="0"/>
        </a:defRPr>
      </a:lvl2pPr>
      <a:lvl3pPr marL="854075" indent="-223838" algn="l" eaLnBrk="1" hangingPunct="1">
        <a:lnSpc>
          <a:spcPts val="2000"/>
        </a:lnSpc>
        <a:spcBef>
          <a:spcPts val="300"/>
        </a:spcBef>
        <a:spcAft>
          <a:spcPts val="600"/>
        </a:spcAft>
        <a:buFont typeface="Arial" pitchFamily="34" charset="0"/>
        <a:buChar char="•"/>
        <a:defRPr sz="1600" b="1">
          <a:latin typeface="Arial" pitchFamily="34" charset="0"/>
          <a:cs typeface="Arial" pitchFamily="34" charset="0"/>
        </a:defRPr>
      </a:lvl3pPr>
      <a:lvl4pPr marL="1035050" indent="-180975" algn="l" eaLnBrk="1" hangingPunct="1">
        <a:lnSpc>
          <a:spcPts val="2000"/>
        </a:lnSpc>
        <a:spcBef>
          <a:spcPts val="300"/>
        </a:spcBef>
        <a:spcAft>
          <a:spcPts val="600"/>
        </a:spcAft>
        <a:buFont typeface="Courier New" pitchFamily="49" charset="0"/>
        <a:buChar char="o"/>
        <a:defRPr sz="1400" b="1">
          <a:latin typeface="Arial" pitchFamily="34" charset="0"/>
          <a:cs typeface="Arial" pitchFamily="34" charset="0"/>
        </a:defRPr>
      </a:lvl4pPr>
      <a:lvl5pPr marL="796925" indent="0" algn="l" eaLnBrk="1" hangingPunct="1">
        <a:spcBef>
          <a:spcPts val="600"/>
        </a:spcBef>
        <a:defRPr sz="1600" b="1">
          <a:latin typeface="Arial" pitchFamily="34" charset="0"/>
          <a:cs typeface="Arial" pitchFamily="34" charset="0"/>
        </a:defRPr>
      </a:lvl5pPr>
      <a:lvl6pPr marL="1147763" indent="0" algn="l" eaLnBrk="1" hangingPunct="1">
        <a:spcBef>
          <a:spcPts val="600"/>
        </a:spcBef>
        <a:defRPr sz="1400" b="1">
          <a:latin typeface="Arial" pitchFamily="34" charset="0"/>
          <a:cs typeface="Arial" pitchFamily="34" charset="0"/>
        </a:defRPr>
      </a:lvl6pPr>
      <a:lvl7pPr marL="1319213" indent="-179388" algn="l" eaLnBrk="1" hangingPunct="1">
        <a:lnSpc>
          <a:spcPts val="2000"/>
        </a:lnSpc>
        <a:spcBef>
          <a:spcPts val="300"/>
        </a:spcBef>
        <a:spcAft>
          <a:spcPts val="600"/>
        </a:spcAft>
        <a:buFont typeface="Arial" pitchFamily="34" charset="0"/>
        <a:buChar char="•"/>
        <a:defRPr sz="1200" b="1">
          <a:latin typeface="Arial" pitchFamily="34" charset="0"/>
          <a:cs typeface="Arial" pitchFamily="34" charset="0"/>
        </a:defRPr>
      </a:lvl7pPr>
    </p:bodyStyle>
    <p:otherStyle/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788AA54-7708-1C47-BA66-2F67B314AED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E607F21E-20AE-0A4A-B4DD-A0E9F77A5C0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4412" y="1030288"/>
            <a:ext cx="5943600" cy="2194560"/>
          </a:xfrm>
        </p:spPr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6DC4418-6E44-9241-A1A2-D57AA07BAFA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2CDAF0D-6531-6C4D-AEF7-D50C51AEA0E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>
            <a:normAutofit fontScale="62500" lnSpcReduction="20000"/>
          </a:bodyPr>
          <a:lstStyle/>
          <a:p>
            <a:r>
              <a:rPr lang="en-US" dirty="0"/>
              <a:t>NAME (First, Last)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C2E7610A-EBAD-DC44-9D0C-F24A3E64AB8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>
            <a:normAutofit fontScale="62500" lnSpcReduction="20000"/>
          </a:bodyPr>
          <a:lstStyle/>
          <a:p>
            <a:r>
              <a:rPr lang="en-US" dirty="0"/>
              <a:t>Institution Nam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1EC28617-2356-454F-87F8-C31AAC382C5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F98FE46-4C66-424B-8924-EFDF1B41B859}"/>
              </a:ext>
            </a:extLst>
          </p:cNvPr>
          <p:cNvSpPr>
            <a:spLocks noChangeAspect="1"/>
          </p:cNvSpPr>
          <p:nvPr/>
        </p:nvSpPr>
        <p:spPr>
          <a:xfrm>
            <a:off x="1894832" y="6473569"/>
            <a:ext cx="228600" cy="182880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66245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PG017rGfQWOlwmmBhHfg"/>
</p:tagLst>
</file>

<file path=ppt/theme/theme1.xml><?xml version="1.0" encoding="utf-8"?>
<a:theme xmlns:a="http://schemas.openxmlformats.org/drawingml/2006/main" name="MIT_v2_16x9">
  <a:themeElements>
    <a:clrScheme name="ISN - FEWH 1">
      <a:dk1>
        <a:srgbClr val="000000"/>
      </a:dk1>
      <a:lt1>
        <a:srgbClr val="FEFFFF"/>
      </a:lt1>
      <a:dk2>
        <a:srgbClr val="143B74"/>
      </a:dk2>
      <a:lt2>
        <a:srgbClr val="CFD3D3"/>
      </a:lt2>
      <a:accent1>
        <a:srgbClr val="9C2135"/>
      </a:accent1>
      <a:accent2>
        <a:srgbClr val="008F51"/>
      </a:accent2>
      <a:accent3>
        <a:srgbClr val="521B92"/>
      </a:accent3>
      <a:accent4>
        <a:srgbClr val="898D8D"/>
      </a:accent4>
      <a:accent5>
        <a:srgbClr val="FF9300"/>
      </a:accent5>
      <a:accent6>
        <a:srgbClr val="70AD47"/>
      </a:accent6>
      <a:hlink>
        <a:srgbClr val="0563C1"/>
      </a:hlink>
      <a:folHlink>
        <a:srgbClr val="932092"/>
      </a:folHlink>
    </a:clrScheme>
    <a:fontScheme name="Garamond-Trebuchet MS">
      <a:majorFont>
        <a:latin typeface="Garamond" panose="02020404030301010803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HGｺﾞｼｯｸM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D2DCF2"/>
        </a:solidFill>
        <a:ln w="12700">
          <a:solidFill>
            <a:schemeClr val="tx1"/>
          </a:solidFill>
        </a:ln>
      </a:spPr>
      <a:bodyPr rtlCol="0" anchor="ctr"/>
      <a:lstStyle>
        <a:defPPr algn="ctr">
          <a:defRPr sz="1400" b="1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ctr">
          <a:defRPr sz="1400" b="1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0F352C3D-9576-443C-BE89-E9D24BD09B74}" vid="{FF5A608C-5371-43B3-83E3-A77DB0267CA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26AEC3737D9084D9C4BEB7C52438989" ma:contentTypeVersion="13" ma:contentTypeDescription="Create a new document." ma:contentTypeScope="" ma:versionID="88b70d317269ce7aa8b85210c436bfea">
  <xsd:schema xmlns:xsd="http://www.w3.org/2001/XMLSchema" xmlns:xs="http://www.w3.org/2001/XMLSchema" xmlns:p="http://schemas.microsoft.com/office/2006/metadata/properties" xmlns:ns3="72f0fa04-a42f-4c73-87c3-c5da45defdcb" xmlns:ns4="57e7c543-48b6-4238-a2e7-8fcfd06f3605" targetNamespace="http://schemas.microsoft.com/office/2006/metadata/properties" ma:root="true" ma:fieldsID="944831ceb745f86656b5ddf3754e1696" ns3:_="" ns4:_="">
    <xsd:import namespace="72f0fa04-a42f-4c73-87c3-c5da45defdcb"/>
    <xsd:import namespace="57e7c543-48b6-4238-a2e7-8fcfd06f3605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KeyPoints" minOccurs="0"/>
                <xsd:element ref="ns4:MediaServiceKeyPoints" minOccurs="0"/>
                <xsd:element ref="ns4:MediaServiceDateTaken" minOccurs="0"/>
                <xsd:element ref="ns4:MediaServiceAutoTags" minOccurs="0"/>
                <xsd:element ref="ns4:MediaServiceLocation" minOccurs="0"/>
                <xsd:element ref="ns4:MediaServiceGenerationTime" minOccurs="0"/>
                <xsd:element ref="ns4:MediaServiceEventHashCode" minOccurs="0"/>
                <xsd:element ref="ns4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2f0fa04-a42f-4c73-87c3-c5da45defdcb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7e7c543-48b6-4238-a2e7-8fcfd06f360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72CFE83-F562-4790-829A-B3C2360B5EBA}">
  <ds:schemaRefs>
    <ds:schemaRef ds:uri="http://schemas.microsoft.com/office/2006/documentManagement/types"/>
    <ds:schemaRef ds:uri="http://schemas.microsoft.com/office/2006/metadata/properties"/>
    <ds:schemaRef ds:uri="http://schemas.openxmlformats.org/package/2006/metadata/core-properties"/>
    <ds:schemaRef ds:uri="http://www.w3.org/XML/1998/namespace"/>
    <ds:schemaRef ds:uri="http://purl.org/dc/elements/1.1/"/>
    <ds:schemaRef ds:uri="http://purl.org/dc/dcmitype/"/>
    <ds:schemaRef ds:uri="http://purl.org/dc/terms/"/>
    <ds:schemaRef ds:uri="http://schemas.microsoft.com/office/infopath/2007/PartnerControls"/>
    <ds:schemaRef ds:uri="57e7c543-48b6-4238-a2e7-8fcfd06f3605"/>
    <ds:schemaRef ds:uri="72f0fa04-a42f-4c73-87c3-c5da45defdcb"/>
  </ds:schemaRefs>
</ds:datastoreItem>
</file>

<file path=customXml/itemProps2.xml><?xml version="1.0" encoding="utf-8"?>
<ds:datastoreItem xmlns:ds="http://schemas.openxmlformats.org/officeDocument/2006/customXml" ds:itemID="{4B27F2E5-253A-4DF2-A219-23E2737BADB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7888366-E648-4AF6-8005-04DD5AAA966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2f0fa04-a42f-4c73-87c3-c5da45defdcb"/>
    <ds:schemaRef ds:uri="57e7c543-48b6-4238-a2e7-8fcfd06f360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22</TotalTime>
  <Words>8</Words>
  <Application>Microsoft Office PowerPoint</Application>
  <PresentationFormat>Custom</PresentationFormat>
  <Paragraphs>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9" baseType="lpstr">
      <vt:lpstr>Arial</vt:lpstr>
      <vt:lpstr>Calibri</vt:lpstr>
      <vt:lpstr>Courier New</vt:lpstr>
      <vt:lpstr>Helvetica</vt:lpstr>
      <vt:lpstr>Helvetica Neue</vt:lpstr>
      <vt:lpstr>Trebuchet MS</vt:lpstr>
      <vt:lpstr>MIT_v2_16x9</vt:lpstr>
      <vt:lpstr>think-cell Slide</vt:lpstr>
      <vt:lpstr>PowerPoint Presentation</vt:lpstr>
    </vt:vector>
  </TitlesOfParts>
  <Company>MIT Lincoln Laborator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rossman, Margot - 0338 - MITLL</dc:creator>
  <cp:lastModifiedBy>LACKEY, KENDALL CLAIR</cp:lastModifiedBy>
  <cp:revision>123</cp:revision>
  <dcterms:created xsi:type="dcterms:W3CDTF">2020-04-09T19:28:17Z</dcterms:created>
  <dcterms:modified xsi:type="dcterms:W3CDTF">2021-09-08T15:08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26AEC3737D9084D9C4BEB7C52438989</vt:lpwstr>
  </property>
</Properties>
</file>